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p:scale>
          <a:sx n="129" d="100"/>
          <a:sy n="129" d="100"/>
        </p:scale>
        <p:origin x="151" y="43"/>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504911576740711E-4"/>
          <c:y val="0"/>
          <c:w val="0.9991549508842325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91F5D52-3E79-4BA7-BE35-2325C0FAF7B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F940839-99D8-4F86-83D9-8865FD518A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0EDF97FA-1F21-4C11-9EB3-79A7DF7FDE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66C1F759-AFFC-4C4F-8294-7A0737BB3B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EE2731A0-E1F5-4D76-A31A-E44E83593F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DBC3C7DB-29D5-42C9-8DB8-C5BD7D9023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C7FE7183-4827-4177-BDB2-92DDFFE82F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A1998171-981C-45A3-9B38-DAC09037E08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39E5FA03-2B54-48CB-80FF-5B5D54519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E191340-C5FF-470F-99C5-C15559F531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BAE3DF28-1349-42D9-803B-D0180743D5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A932C3C5-1686-4CED-A5F6-72EBDEFBFB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D9D87F50-53D3-4359-9B52-6D9FC68E8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F70C1CE3-D7DB-4E33-922B-704B886623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31AE9266-0E1F-46A3-9201-56400576BF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86E84548-22CD-49A5-A657-F8CDF241CA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723062DA-9B47-4F6E-829C-2B508B5DD7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28F59D64-E0EE-4D6A-83D3-824630C6FF0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1FC2BB64-9557-4C30-8444-30BD2C7603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AE6FAFA2-946C-4B96-872C-895FC1CA87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AFD2A53D-77CB-4DB3-B54F-7ACBC7E0E6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3B183EED-FA8F-48AC-9A69-CFBAC6261A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3441A1F0-8FB9-45D8-A707-082646E227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2E64C5FD-76FA-4B59-81F4-59EA59E9B4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4EE10244-A342-4D22-B8D8-4259A752AF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69422C6B-3A1E-44F1-A7CC-21533AF99D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7C244256-EE0B-469D-B9A2-40B05A35A8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3296DFC4-4BD0-42C7-B607-309B08B787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D0AD5FC1-95E8-4764-B219-47E8F6DD3F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FB47EB5F-A46F-41DB-9A5A-E445DB092D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50D071E9-9AD4-4F2E-9F77-DC0D6124D0D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29ECC98F-98B1-425F-A366-F48B154F4A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A10D9EB1-6D04-4E36-898D-EAD4544385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DC070452-7CBD-477D-A5FB-AD87933765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56B21559-1E4E-4659-B937-CD2C017CCD2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11F14BBA-1745-43DF-B584-7DD778EFDD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F4695610-CA1A-4897-815E-6B75DA9C2E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9B34C845-CD29-48DE-9E87-0FB8613274D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517131E7-6666-4E2B-82CB-A47C10197A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FC7FBB87-6CFE-41AF-93A9-06A5312C4D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EB051404-CB52-4509-B0AE-D1D3D3369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E76C7FF4-5B85-4150-8715-5D2BFF0410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5FECBF60-1C53-45D5-ACDF-ECEE7F9736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35038D6F-CD41-4290-86B8-90F06EDC2A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48464D05-B124-4A89-A23E-C433A14BA19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26CE0F64-A80B-40BF-A4A7-122ED81FE46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F29A6B43-41D8-426F-A144-FFCCFF41BB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93C60B2B-6699-4EC3-B15F-88DE8A4E90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0C93E027-A7CB-4D14-9C86-697C14DF61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AC977340-B775-4EF2-8794-EF11863BA29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188B7821-4E9B-4EAA-9D92-053F1A52B5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3ADF9AEC-F7EE-433D-AA7A-4E2F81EFB1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3F8D4239-E4AB-44DE-85F1-EA6B84CFE1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DF2CB7A2-0F6F-499B-8D8A-783ABF47FB6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5ABA4FA9-227C-4B9A-9EFC-77D0A9E494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13DD7117-0EF2-4454-847D-1AA2AD6A345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C97A0509-8007-4E7E-A982-462829589D3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1D3D5F8E-F9AD-4F78-8E74-FD934C0997D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F2019F5D-E1D6-40CB-871D-8CF338BAF4F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381CCC0A-5EEF-44D5-A967-41596557AB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7D094428-450B-40D3-A09B-DCE0755C72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4C885D91-A5DA-41CD-871F-AF01435C0E9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5F9E604E-BC42-47A5-A86C-598B925896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E982ED7E-3C30-4C74-A27F-0E24C5DF62C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9F294BDD-1134-4271-A313-9B32180D16E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7713E18E-6E96-4F9F-8029-DF884D4E15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B028445B-9F70-481D-B3FF-10B06925A2E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D0E808AB-AD8F-403C-8452-F6F2E48A9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03EEAA50-224D-49EC-B97C-0A633CABE0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BEDFE3D5-65B9-41AC-88EE-5A9E47B5383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E04BEA8F-C697-4883-B982-A58179FC1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299968C3-D791-4F56-83CF-BCA181FA26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9F96535F-9C85-43A5-B1EC-3F89344181A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9922231C-FF0B-4558-8D3A-F27F25827B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0D459684-9EB3-4E72-8A18-AAD8CB9F1A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0671940E-B603-413F-A576-6C088B80176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34791421-06F9-48D4-B2C8-CB9F5B727C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2513F78C-9DC3-449E-BD3A-F178509D500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D8351599-068A-40F6-9595-88516054A2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C7058AFE-509E-46C6-8859-AF35408C0C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F50EF627-9923-4720-B975-4E0D83AD01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76E861DB-1086-4DB5-B962-F96FD4DDE43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7AF2724D-7787-42A6-A3BB-E9F4DE324C4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0606CE9C-FD5E-45D9-AAAB-D2B9488953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BC56BE37-5CFB-4FEC-B2F5-D98E212DC5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45BB9F0A-033C-4F39-9FD0-AAEA273434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459E5D68-A3E0-46D6-A688-2365D86015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DF5E5E56-75B5-4755-893C-C3836D28C0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056AE4FC-CDD3-40C9-990C-A4E022F7D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7CC47EF6-C2C2-4548-94F0-9514DDCB5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2DE70448-1A74-4479-A19E-AF7DDDF723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D9EC7762-2636-45F0-AC86-849F2BA535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C0313D8E-7150-4056-93D5-8A3DAF70C8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BC88B220-99B6-4568-9691-1D0EBD1CE7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F903E420-5B35-47C5-8958-B87F60241D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28C2E3FD-C906-46CE-8612-C928626E9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29F27366-4913-41CE-B368-83C5FA8C02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CCE7B3E1-DBB4-4490-8609-696CAE444B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BA4AAF3-A104-4159-9797-C21501F29CA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A2FAD94A-10F8-417B-A929-84357FA927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35674251-B971-4934-9312-446B3BB534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15E77619-B6F3-4741-905F-7ACB21E4AA7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E4B8E1BC-954D-4240-BF8B-D51A581D934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0B23441D-338B-4E22-8F5D-9EBD8F9FBE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838F9EB2-3BE4-45B5-9519-6620A341D66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EAD37038-EA70-474B-8045-8341C8B15C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7ADC46C0-8D30-4C1C-AD92-FC8D9F9F48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AC2F06D8-6939-43EC-9915-87201C28B7A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CE3915AA-F721-44DC-9B9E-80F0815038C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ACF1D6B7-1FE2-485D-BAA3-7CD74C9015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78C79A9C-DE15-4898-A242-1738B9212FD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852EB170-0011-4C2C-A572-7A6327DB4BD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AF196076-FC83-4401-BC07-DC16832B9F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8AAFE324-444D-49C2-923B-E853C483F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07132874-8B31-440F-A204-A451266459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B0F7BD27-E3E2-4C51-B3F1-24C1BBFF08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5F3DE991-3D03-43C5-8925-7D07AEC2D00F}" type="CELLRANGE">
                      <a:rPr lang="en-US"/>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0129742F-62DE-432D-9D46-A1ECE8B70D4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AC5519B4-CCFC-4781-ACED-E9FEF92DD5D4}"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87DF4482-261D-4137-A3A1-890867CB7EC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17A91C2A-FE95-429E-8D5C-FD0B4512FBF9}"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E2A85276-4050-493E-9635-46352DA8AAC3}"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2A84C678-6919-45E4-B2F2-638AE12CF4B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467BBFD0-4EED-407C-8220-6FB88EDFD3E4}"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8B43925A-A4C0-4584-87A9-6838B46E501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CD99E8C-8BF8-4825-9649-7888CDEADF6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58CC59E5-327E-4200-9D5E-8C3B134DD024}"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C648C52F-7361-4A42-8C3F-D127EB7C749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B2491E66-E5A7-4931-8C6C-8DB25AB15B5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B7C21915-D885-4E53-ACD0-FC3308A1454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379E4D85-BAE8-4845-890D-ACC97E79226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BDFCDFE4-E473-4A0B-AE64-4D3381FB835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DD1280C-1F0B-418E-A1B9-5A6E264CA63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921A28F5-57B2-4BAF-947E-B921D762568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3A370340-0281-4660-AB5D-5C4D4AF94F9E}"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564821B7-2FCC-412E-BAAB-6974DA7FCBBE}"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08ACDA07-E78C-49FB-B477-19B717BED29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F7C23615-FDF1-4B0E-B5B2-DA4F297B809D}"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6B027A68-142D-4DFB-B9BD-AFA5E2AEED3D}"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ECBA04B-DA3D-4D12-A542-B4A68913EB5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0692D869-FCAB-478F-9BED-66CD2B65FBEF}"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DD46AA0-67CC-4244-BA13-C38AA3C8DE6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6C3B764B-4A11-4DE2-9B85-9C7DC6AB1F0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6427FC2-AF6E-42A2-95C6-B7D50FEFCB92}"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C225FC68-6EF8-4E6C-95D8-93D89EB4F1A6}"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59D7B1FB-F7C9-42C9-80B3-CA1790B2B99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1653C554-727E-48A4-88E2-9423F39C95E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52AC65E5-2BF0-4606-9618-38CF8A079CD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4FF43F8D-381E-4936-94A7-0656CF338EFA}"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5F4134F8-9639-4721-9108-2D7D31B50248}"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9F94F352-4445-4800-A62F-0BA944AADAF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B7719E91-E1D0-4764-BB46-713977922AC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854FEEDA-AA05-4860-A35E-22BBA56D08D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A078135A-2F88-4C21-B215-BA3562869B4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E863CEE1-9BDA-4FF6-A9B9-33E417FFA13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6ACF799A-C074-4ED9-B1FF-6FFC13D2FB82}"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4E0C913B-9914-4DA9-A8CA-AE313A08CF1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6FC9C8D2-AA9D-49B5-9AFB-84FDE6AEA03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05D9D864-D3D2-4B4E-8ED7-0FCF6E0E68F7}"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5114AF7-F16B-4E7C-A9EE-41B80B0EF901}"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F8CDFAAC-F538-4B70-AC13-E2D812A3DAE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39FA180A-8BED-4567-B274-52FE83BE34BC}"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6A93AD2F-8526-452D-AEBA-2D83E8CCF3F0}"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62359F3C-2F4B-4B71-9411-28AB35C416F5}" type="CELLRANGE">
                      <a:rPr lang="en-CH"/>
                      <a:pPr/>
                      <a:t>[CELLRANGE]</a:t>
                    </a:fld>
                    <a:endParaRPr lang="en-CH"/>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CH"/>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CH"/>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C6F5DD5-5829-4515-A643-911F5004B337}"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0B7E2E92-66C7-4CE4-9CA7-E22AAC9951D5}"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FB8B64DD-E12A-4654-A5EE-AF13A897FF28}"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BB6E9C8C-64FF-468E-B0C8-698BED99BD6A}"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43162ACD-E48A-4AB7-A7FF-13C8636AB906}"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F5F65747-0FE8-44D7-BED4-0961B8A18962}"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C42795C0-004E-45CE-B27C-C65FD9B3098D}"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CF828542-2588-4FF9-BC99-1C6C1FB46143}"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E2634684-EE1D-415C-A47D-EF34A290DF68}"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D2483508-9754-4D1B-856C-1D10C98B70E6}"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413E951C-FBF4-4645-AF2B-DD13FF7CD85C}"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5E327674-038B-4BCB-871E-4E7EB6B23E63}"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A0ED82A-9B97-4A8B-A7B3-A9AD9A87DDD7}"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A664A6A5-EDEB-473A-8208-99D13339A362}"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315BF4A4-A6A5-485B-BC3D-C80EBC4522C2}"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36D7AA01-52DD-4DFC-AD25-599DA1AE885C}"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B40C753-A6F4-4090-860E-4BE6A6684A40}"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86620569-BD81-49D0-8E41-0E364EF23542}"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4B0A65E4-B04E-4816-9D2E-493C411664A7}"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17D9C5B0-C1CE-433E-A3BD-FC17889034A9}"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6C80370B-810D-4EBB-922A-12A4A7E20E5F}"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B8B40DF2-DA28-445E-9DBA-92B330331B60}"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05426A45-1F8B-40BF-8EB2-1D2CBAD83523}"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38FB645F-E503-4D65-B6FA-9D97534E8164}"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E415492-2338-42A1-892F-FD142F225D73}"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E396D5DD-B3ED-469B-9155-F4D2B5EDDD8D}"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80CCC9F1-7D6C-4A39-AD37-7DB0F72AEF4B}"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04B1CB0D-E167-4F91-ADEB-2FF9CAAED0C3}"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468D1B66-60B1-47ED-BC26-A127F7DED71E}"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DA403DC7-8433-4480-847A-D8505D653E49}"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51E3F130-A967-4EE8-806E-44F0C638945D}"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8866AA9A-2080-4B28-BBA5-CF9AE45517DA}"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ED046E7-6FEC-4430-9203-C47F9710FA3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CDEEEA7E-E626-4075-9E9F-34CA280AC83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6A04410D-F1AB-47B5-BCD2-149887C6841B}"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C8BD926B-E038-4723-A16F-7EC533C5B8DE}"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72FDB2ED-6D98-4E27-908C-A6D26B748E1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C16FAD5D-4EAF-455A-82D7-3C2368169EE7}"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0CE08F3-4021-46C4-AECE-832BF70EAD8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79B67D90-FF91-4640-9ADB-32748710F68E}"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DC61513E-92EB-4CD6-BE6A-3D970FA6064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9C436A8B-4BFA-4A9B-BC50-862E28F5DE0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094AE4CB-E8B6-492F-9365-EA000AF7FE5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17B51893-7583-4539-90B9-E0C86BD93539}"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F0AB34BA-9964-4E2D-B566-52AC439B7C42}"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C1EA2C4-13DE-4D61-ACB9-B14C61162A82}"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C8ED9E9-1AB7-42F6-9995-C4F043D1EC3C}"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78F3AF13-0FD2-4AF0-B566-4299FB7ED6BE}"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74927DAE-D7AF-47A8-9B14-2C4F935DFCA4}"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BD3E076F-CE25-423A-8C6A-09F7DE078B2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819DDE62-6389-4849-9798-48DD59FB631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E269562F-4CEB-4CE6-9EA7-72C44E886089}"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20BB4946-DF55-48F0-957C-50DB546B31CF}"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06CDAB58-36F5-4D41-83F7-113CDE8338A7}"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FEEA3BD-D73C-40FA-B949-86F82F52F58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B36F015E-F0D9-4D15-AB37-86219B06369E}"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4332C1A8-28E5-4406-B031-D051578712C2}"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490A730D-D000-450F-96DC-7F2A2FF359F4}"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33B83D4F-019A-4086-AD20-F048E2E70EF6}"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A2D086E4-4E9E-42E5-BF72-3D4959E020FB}"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F12FAD88-6B41-49DB-ABF7-7A031CA4535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B4320B4-2E05-4C33-9519-FAB1D122D30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A749DFC8-C847-49E3-BBB6-C7B871DBC536}"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7CD27686-0F54-4B47-8854-6DCE51C8D28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D0A42610-9BBA-4181-9EA6-1E01EA50B5D9}"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40E2E656-076C-46B5-B234-2D9D2ABFF67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6D548A12-B049-418A-8113-A6CFBA298DD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4A0A5436-D839-4BCC-A206-4D0B4E0D1E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034675F-C3BD-41F2-9A5E-DF74554E32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F3DEC5C-2932-49EA-85FC-5581B010DF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04D1FA3A-1FDF-4295-8676-46046CCEE2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DBFCA95A-F91A-4152-87DF-BDF7EC0BB64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D814732D-CF41-4CA9-B6FD-D6A8DBE407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969D684B-1D25-4F39-928C-C93DDCAB1C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F45FCD54-A9B4-4533-94CE-E8FD16BAAC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1E1C2B94-C62A-4D25-A7C0-6CAB52F859F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D0CD6B98-5339-4E22-93F8-C3471BC716C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63D011EB-2668-4A00-B7F1-8015C024AE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3193C717-F6F5-4217-913A-DFDA587C0E9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66A40F1-C8CC-4EC6-A3BC-BC4B58F054B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A2EF4E2-6216-4C83-8996-E486EC2CF6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E1B89B3D-7FA8-432E-8DE6-E9D93EDAE57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A862517E-15DE-4DF8-94BC-681C87F662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9D4791C7-A657-4173-9677-04B15EDBBA2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522798A5-A6B1-4C26-B993-B2C10681EA6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8145BE4D-2852-45AE-A980-35F883DC72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E51487D1-6C47-49AA-946D-184E8155793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99541AC-0D4A-4EB8-A55E-61CFDD887B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96468D15-46C8-4FE9-9AC7-BF64F0414B9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DAE7BE4C-43F8-4034-B1F0-148E9F72C04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8295D36E-B808-4D19-B7A5-64C3AB7A2A7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789DBBB6-8AF6-45DF-94F5-9CA33DCA3E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20C948CC-F42A-42B1-B637-5C94D7D89E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18B18656-E7F2-4C22-AC08-C29FE2521B7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D90C72FF-8B4C-4D9C-B69E-1F32E665F43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CFEA51B8-CE6B-4D09-9FED-D9A6A5A3F60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73457F66-F6F7-4CD7-ABF7-4B1223CD87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6E66DA00-62CD-465F-A5DB-D1DFE93219F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E2986F82-88D1-4812-854C-A359DB079D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681238D-F53D-4D7E-A793-04EDA507BE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91CDE1BB-6B49-4C33-93A9-AAE1D9E191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5C3A331-4457-4D27-8CFD-934F093744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22B10BA-285F-4425-B6EE-53380A41E15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78994AAC-0FCB-4C22-8FF5-45DB82A585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81233831-8C56-41BF-BD21-A273ECDFFD1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7801CF53-B0EB-42EF-A4B4-0D0178BD26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62CC9A89-5250-4D6F-A9FF-7988ED2AF0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260388DB-4C96-4E9C-8B27-AE9EF8E75F1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EB188B6D-252C-4AF6-9884-E74F395269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637958FB-FDBB-4B5D-ABDE-12FB894D5DA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C6F616A2-CA5E-40C7-BE5E-24FF8804E0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967B6CF1-5DB1-412A-8736-88E7629EA165}" type="CELLRANGE">
                      <a:rPr lang="en-US"/>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210342D3-733B-485E-A66D-F1DD79CF3C8D}"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587D1350-B254-4B52-8356-6B9249C705AB}"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43D4FA1C-6C7B-4324-85F9-1215E0C68B99}"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2C3E80BC-FED1-4EE5-9361-334FDCD67B5E}"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8C295D97-1A07-491E-A6E1-805835A81C77}"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B48733F1-53AB-45FC-ACFD-08DF098B3F38}"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733F39D0-9064-43AB-B6D9-1CC3CC006B68}"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2B98B759-0E2D-439A-8EA5-40D88BC773AF}"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FF4903E3-15A9-4AB3-ACE4-2C745983D2BA}"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DDBC07D8-7B8F-4F02-9BD3-2A3F28FEFC92}"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6E3662D6-E943-4752-A622-94541DC2D246}"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2862AAE-D3D7-4FFC-98C5-1A2EE7BC576D}"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439BE5C9-F3C2-4BDC-9621-BEA3652A115C}"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1B39EC3C-DE11-4BB8-8051-88ED40960B76}"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8C082285-069D-4891-9150-438F363E5600}"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8DAAE62-BEF2-449A-B2E9-457C92C3D489}"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025408FF-F546-41C1-AFFE-9960A16474D9}"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BBA65FF4-578D-4A55-906D-0BB9ACFC4090}"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3E21A6D7-4478-44DC-9BBE-5946CE2E330E}"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96800B65-6C5E-44F4-933B-4FED201D0598}"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298B96F3-D60E-49AE-8970-196D2AD7B26A}"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1C926AF6-A390-48B6-A84C-B7BE1253785E}"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057F42ED-5DC6-4020-B948-6053A7EDE628}"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DE41403E-06F7-446D-8BE1-9D510719729B}"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B7C375EE-6B68-4B80-94F3-80EA82284F69}"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506094C9-84C7-47E0-9590-6194111D433C}"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1C621824-CB7B-4988-BA29-3F39C52B0E07}"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B965989-0F2A-45F4-A7C4-46F3A20B6034}"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CE82A104-E7E9-40D0-9E94-AC62CDB641BF}" type="CELLRANGE">
                      <a:rPr lang="en-CH"/>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B4C31B0-ECC5-4236-9DDE-7E577D45CEB6}"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C3A90554-5D55-44D2-B8F3-F7E426466D8A}"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0AE3FB12-B051-4490-8361-118D8D9C007C}"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CE9CF5FF-A899-45E7-8846-A5EC585403BB}" type="CELLRANGE">
                      <a:rPr lang="en-GB"/>
                      <a:pPr/>
                      <a:t>[CELLRANGE]</a:t>
                    </a:fld>
                    <a:endParaRPr lang="en-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D220506-0D1A-4A78-9302-76A1F9F95FB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F96458C9-41A9-42B0-99E0-84D6CCD344AE}"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7DE079EE-0B8C-4D2E-8F32-7D7B804445F4}"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484D21F8-3CD5-49E0-9694-068504E0A0AB}"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88B299A9-AE2D-4EB6-8112-83632EE4A266}"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33AB282E-61A8-4691-B550-4BBBF5695720}"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2D6F7034-2C56-4C28-90EF-AB01DF34907F}"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4418C6C0-978E-49E6-9E5B-D4020F9B8E6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47313C50-3DB7-4662-A67F-66A521299E6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B01A8610-2FF8-439B-956E-FE5776CCF26F}"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5518CDB9-AE72-45F1-AA15-DBE04AD33E2F}"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64B28E80-F4A4-4DDC-B62B-801F14173778}"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5E2C077C-3562-4CBE-ADBB-DF6F308DED0D}"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D3A73A13-E978-43BA-9925-B5830CDF862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F046385A-F67C-403D-A55C-F7A1C8692404}"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898AD404-13A2-4EE7-A4DF-21C8DCBA4D20}"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E12256F6-1B12-4979-A9B8-3F2B04A74CC8}"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351D5961-BB92-48BF-B897-4A0EB73E4BFD}"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F8928565-E0ED-4511-BF4F-72499E1E72B5}"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90BBF131-B1D5-4291-B72B-DDE6B9582F5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AC04368F-FDF9-4859-97A2-74E557C3749B}"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E27615CC-3775-4C90-AC6F-A96CF03130A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4203F1CF-697B-4879-960A-563DB1CF83E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FB69F2FE-79FA-49FF-8ADD-B1C902498870}"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927E5783-8FC9-4D74-9A1B-CF658BE2D6EF}"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CD8B673B-EB43-4062-8D39-55B036C12315}"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2DF5179D-A340-4291-BD42-70AF5E8995B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147B93EA-D59E-4006-B3ED-ED5CAB515C99}"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CD841F4F-7490-43AC-AB95-4E7966EDF11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44E13A10-8C26-4B81-8267-8F1351682E6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59BBC634-149A-4B91-9D40-DE166C05C39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01F72393-4359-4E94-8D9D-E2F7759B4BC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A3A68A9F-7C28-4BB6-9988-0EE528E6D7F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CF519479-0718-4C4D-86A5-C75B30E1066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B7BBF3C6-5B5B-4C75-A1C8-2F3B20F09CB9}"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F49CE29C-F565-4FC7-9E4A-C2941F979CAC}"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C9F0C1E0-A220-4735-A7AF-9712B5E20736}"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C8008ADF-04ED-4F94-8412-37CB767655DA}"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F7DBECB4-4068-4901-8742-D2B83582275C}"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4F5863F1-F452-48B8-A060-789C82D7EF82}"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416AC08D-FAC8-4FCF-AF58-FFB8A0DEC322}"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78844ABC-5426-4CF5-ADF9-44BE1E6D48F3}"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5D9C83A4-450E-4131-9BDD-6B5AED85373C}"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3C05FE32-D35F-4741-B6A7-C0F4CBF346E6}"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742CE6DE-496A-42CF-8CCF-0F9625C7EEA4}"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6D08F3D4-AD5D-472A-8633-4D1618662E21}"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A43A7AB3-8C1D-4B67-812E-0C22A07EBBD1}"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451705F-B308-4927-A31D-616AA1F067F1}"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892F677D-BB0F-4BED-A5B0-2D8057933A0C}"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70807DFE-5D84-44ED-9319-426595F4C8F7}"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C29FB267-608B-41E7-886D-65D004175BDA}"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A76AEF-3AC9-4B3F-9846-0E7357A891D1}"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9B489DAD-0ACA-4932-92C1-AC8D58BCA4AA}"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870F457C-7221-4C16-A57B-567A4961A00D}"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4B5F03B3-5D2F-449D-93E7-1183EA01ADED}"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CD1FC1B9-AD60-4D91-931A-57B5080867C8}"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6EF3C76A-FAA2-46C3-9A3D-DA328518DD69}"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51131A4B-C842-4D4F-82C3-F39820AD218D}"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FBE9AE77-D310-4EA4-95E7-D7C69262D908}"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D7EDE5E1-D450-44B4-8E77-686BF1AE3A7E}"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0DBD5D97-89E1-4E78-B56B-121499681A2B}"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1C994D3B-E38A-4EFE-A018-C8EAEAEE2D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410B32FA-AFE1-4D67-8D67-49EF3B45C8DB}"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4E706987-C460-41D2-8DED-8B35A54A9224}"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4EB06B61-83B5-4B3B-AB21-058FE0E08623}"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39A832D8-2D3D-472E-8ABC-B7CDFF9F397B}" type="CELLRANGE">
                      <a:rPr lang="en-GB"/>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1A92717-376E-4221-98DC-42C150169BA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A224B0FF-0E7D-40CA-A332-1C64767BF0D3}"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F51B5490-6D54-42BE-93C8-376D7F0AAFD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2B8BBE49-07DF-4360-922C-7ECC0049C3BC}"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6F3307B5-BEE7-4617-8B62-0E779A8777F0}"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3EDE018D-CE03-43B1-BB78-E4D1057C4FB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830369BB-5DF2-406F-A15C-7F447F6DCF76}"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913F24A2-9D3B-4494-AF18-88C961757092}"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9994D60E-AC27-4AC3-A309-3BE3BBA06FC2}"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8A1B3278-A4A4-4604-B374-3DC560E503C4}"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9DFFA81F-6D53-4034-A06E-165D899D71ED}"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E6BC2E8-7949-4507-A09E-30D00DFF4475}"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46895D61-2C13-439B-B38F-4709B5A64D15}"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BD19C206-FC9B-4DA5-90EE-4937A6016D54}"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15CC88DE-2172-438E-B7C0-E344C607CE59}"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AE4A93A9-FF5F-4D5A-84A4-090FBD3C64E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6BAB147A-5877-4E8E-A7B2-16FFD1981FA7}"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BEBFDADD-0D99-4987-A4FC-66402988A77B}"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A09EBFA7-5593-42CE-91F6-31E42625F760}"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17699F04-0656-4848-9E7A-0B8BB82451A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27424BD0-4DA7-4C65-A593-C04EEB0E6A6B}"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8075CF5A-1023-4BA9-B15B-88168206F438}"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365C5D7F-52D0-4549-8E2B-283679164173}"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A184DF65-51E1-4CA3-A42D-46FD7EE7F950}"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95E71265-7DF5-4862-81B5-B886C0116C57}" type="CELLRANGE">
                      <a:rPr lang="en-CH"/>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2063599D-6619-4888-B5DD-2EF72322BA85}"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D7271B72-6EE4-4FCD-B219-2F1F607E6438}"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7B21CAC-1E86-4280-937E-8E71DDE5739F}"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37BB65E0-D7DA-4C4E-9C6C-B8A0F5EB5CC5}"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1CC2700F-1BC2-4726-82A8-7AECF4AF6AA1}"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EC99111A-55F6-4905-9212-1B59F5432A8A}"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405CA8C7-1B21-4BF6-9F43-F97AE5DE49D9}" type="CELLRANGE">
                      <a:rPr lang="en-GB"/>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B$2:$B$13</c:f>
              <c:numCache>
                <c:formatCode>General</c:formatCode>
                <c:ptCount val="12"/>
                <c:pt idx="0">
                  <c:v>0.122076</c:v>
                </c:pt>
                <c:pt idx="1">
                  <c:v>8.6438000000000001E-2</c:v>
                </c:pt>
                <c:pt idx="2">
                  <c:v>0.16711699999999999</c:v>
                </c:pt>
                <c:pt idx="3">
                  <c:v>0.216805</c:v>
                </c:pt>
                <c:pt idx="4">
                  <c:v>6.0905000000000001E-2</c:v>
                </c:pt>
                <c:pt idx="5">
                  <c:v>0.14979999999999999</c:v>
                </c:pt>
                <c:pt idx="6">
                  <c:v>0.14000000000000001</c:v>
                </c:pt>
                <c:pt idx="7">
                  <c:v>0.122076</c:v>
                </c:pt>
                <c:pt idx="8">
                  <c:v>8.6438000000000001E-2</c:v>
                </c:pt>
                <c:pt idx="9">
                  <c:v>0.16711699999999999</c:v>
                </c:pt>
                <c:pt idx="10">
                  <c:v>0.216805</c:v>
                </c:pt>
                <c:pt idx="11">
                  <c:v>6.0905000000000001E-2</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C$2:$C$13</c:f>
              <c:numCache>
                <c:formatCode>General</c:formatCode>
                <c:ptCount val="12"/>
                <c:pt idx="0">
                  <c:v>0.87792400000000004</c:v>
                </c:pt>
                <c:pt idx="1">
                  <c:v>0.91356199999999999</c:v>
                </c:pt>
                <c:pt idx="2">
                  <c:v>0.83288300000000004</c:v>
                </c:pt>
                <c:pt idx="3">
                  <c:v>0.78319499999999997</c:v>
                </c:pt>
                <c:pt idx="4">
                  <c:v>0.93909500000000001</c:v>
                </c:pt>
                <c:pt idx="5">
                  <c:v>0.85019999999999996</c:v>
                </c:pt>
                <c:pt idx="6">
                  <c:v>0.86</c:v>
                </c:pt>
                <c:pt idx="7">
                  <c:v>0.87792400000000004</c:v>
                </c:pt>
                <c:pt idx="8">
                  <c:v>0.91356199999999999</c:v>
                </c:pt>
                <c:pt idx="9">
                  <c:v>0.83288300000000004</c:v>
                </c:pt>
                <c:pt idx="10">
                  <c:v>0.78319499999999997</c:v>
                </c:pt>
                <c:pt idx="11">
                  <c:v>0.939095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B$2:$B$13</c:f>
              <c:numCache>
                <c:formatCode>General</c:formatCode>
                <c:ptCount val="12"/>
                <c:pt idx="0">
                  <c:v>0.122076</c:v>
                </c:pt>
                <c:pt idx="1">
                  <c:v>8.6438000000000001E-2</c:v>
                </c:pt>
                <c:pt idx="2">
                  <c:v>0.16711699999999999</c:v>
                </c:pt>
                <c:pt idx="3">
                  <c:v>0.216805</c:v>
                </c:pt>
                <c:pt idx="4">
                  <c:v>6.0905000000000001E-2</c:v>
                </c:pt>
                <c:pt idx="5">
                  <c:v>0.14979999999999999</c:v>
                </c:pt>
                <c:pt idx="6">
                  <c:v>0.14000000000000001</c:v>
                </c:pt>
                <c:pt idx="7">
                  <c:v>0.122076</c:v>
                </c:pt>
                <c:pt idx="8">
                  <c:v>8.6438000000000001E-2</c:v>
                </c:pt>
                <c:pt idx="9">
                  <c:v>0.16711699999999999</c:v>
                </c:pt>
                <c:pt idx="10">
                  <c:v>0.216805</c:v>
                </c:pt>
                <c:pt idx="11">
                  <c:v>6.0905000000000001E-2</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C$2:$C$13</c:f>
              <c:numCache>
                <c:formatCode>General</c:formatCode>
                <c:ptCount val="12"/>
                <c:pt idx="0">
                  <c:v>0.87792400000000004</c:v>
                </c:pt>
                <c:pt idx="1">
                  <c:v>0.91356199999999999</c:v>
                </c:pt>
                <c:pt idx="2">
                  <c:v>0.83288300000000004</c:v>
                </c:pt>
                <c:pt idx="3">
                  <c:v>0.78319499999999997</c:v>
                </c:pt>
                <c:pt idx="4">
                  <c:v>0.93909500000000001</c:v>
                </c:pt>
                <c:pt idx="5">
                  <c:v>0.85019999999999996</c:v>
                </c:pt>
                <c:pt idx="6">
                  <c:v>0.86</c:v>
                </c:pt>
                <c:pt idx="7">
                  <c:v>0.87792400000000004</c:v>
                </c:pt>
                <c:pt idx="8">
                  <c:v>0.91356199999999999</c:v>
                </c:pt>
                <c:pt idx="9">
                  <c:v>0.83288300000000004</c:v>
                </c:pt>
                <c:pt idx="10">
                  <c:v>0.78319499999999997</c:v>
                </c:pt>
                <c:pt idx="11">
                  <c:v>0.93909500000000001</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2/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22/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37946498"/>
              </p:ext>
            </p:extLst>
          </p:nvPr>
        </p:nvGraphicFramePr>
        <p:xfrm>
          <a:off x="496832" y="1140421"/>
          <a:ext cx="8147060" cy="3591917"/>
        </p:xfrm>
        <a:graphic>
          <a:graphicData uri="http://schemas.openxmlformats.org/drawingml/2006/table">
            <a:tbl>
              <a:tblPr firstRow="1" bandRow="1">
                <a:tableStyleId>{5C22544A-7EE6-4342-B048-85BDC9FD1C3A}</a:tableStyleId>
              </a:tblPr>
              <a:tblGrid>
                <a:gridCol w="1629412">
                  <a:extLst>
                    <a:ext uri="{9D8B030D-6E8A-4147-A177-3AD203B41FA5}">
                      <a16:colId xmlns:a16="http://schemas.microsoft.com/office/drawing/2014/main" val="654108321"/>
                    </a:ext>
                  </a:extLst>
                </a:gridCol>
                <a:gridCol w="1629412">
                  <a:extLst>
                    <a:ext uri="{9D8B030D-6E8A-4147-A177-3AD203B41FA5}">
                      <a16:colId xmlns:a16="http://schemas.microsoft.com/office/drawing/2014/main" val="2577239026"/>
                    </a:ext>
                  </a:extLst>
                </a:gridCol>
                <a:gridCol w="1629412">
                  <a:extLst>
                    <a:ext uri="{9D8B030D-6E8A-4147-A177-3AD203B41FA5}">
                      <a16:colId xmlns:a16="http://schemas.microsoft.com/office/drawing/2014/main" val="1241509968"/>
                    </a:ext>
                  </a:extLst>
                </a:gridCol>
                <a:gridCol w="1629412">
                  <a:extLst>
                    <a:ext uri="{9D8B030D-6E8A-4147-A177-3AD203B41FA5}">
                      <a16:colId xmlns:a16="http://schemas.microsoft.com/office/drawing/2014/main" val="857200868"/>
                    </a:ext>
                  </a:extLst>
                </a:gridCol>
                <a:gridCol w="1629412">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3792627937"/>
              </p:ext>
            </p:extLst>
          </p:nvPr>
        </p:nvGraphicFramePr>
        <p:xfrm>
          <a:off x="5385787" y="1487345"/>
          <a:ext cx="1612924" cy="32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3225666939"/>
              </p:ext>
            </p:extLst>
          </p:nvPr>
        </p:nvGraphicFramePr>
        <p:xfrm>
          <a:off x="7014031" y="1487345"/>
          <a:ext cx="1612924" cy="324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22/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22/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r>
              <a:rPr lang="en-GB" dirty="0"/>
              <a:t>consumption if total size &gt; threshold</a:t>
            </a:r>
            <a:endParaRPr lang="en-US" dirty="0"/>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9/22/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9/22/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22/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22/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3572610966"/>
              </p:ext>
            </p:extLst>
          </p:nvPr>
        </p:nvGraphicFramePr>
        <p:xfrm>
          <a:off x="541080" y="1133761"/>
          <a:ext cx="8094115" cy="3612836"/>
        </p:xfrm>
        <a:graphic>
          <a:graphicData uri="http://schemas.openxmlformats.org/drawingml/2006/table">
            <a:tbl>
              <a:tblPr firstRow="1" bandRow="1">
                <a:tableStyleId>{5C22544A-7EE6-4342-B048-85BDC9FD1C3A}</a:tableStyleId>
              </a:tblPr>
              <a:tblGrid>
                <a:gridCol w="825931">
                  <a:extLst>
                    <a:ext uri="{9D8B030D-6E8A-4147-A177-3AD203B41FA5}">
                      <a16:colId xmlns:a16="http://schemas.microsoft.com/office/drawing/2014/main" val="2374043349"/>
                    </a:ext>
                  </a:extLst>
                </a:gridCol>
                <a:gridCol w="660744">
                  <a:extLst>
                    <a:ext uri="{9D8B030D-6E8A-4147-A177-3AD203B41FA5}">
                      <a16:colId xmlns:a16="http://schemas.microsoft.com/office/drawing/2014/main" val="8673104"/>
                    </a:ext>
                  </a:extLst>
                </a:gridCol>
                <a:gridCol w="660744">
                  <a:extLst>
                    <a:ext uri="{9D8B030D-6E8A-4147-A177-3AD203B41FA5}">
                      <a16:colId xmlns:a16="http://schemas.microsoft.com/office/drawing/2014/main" val="1028273140"/>
                    </a:ext>
                  </a:extLst>
                </a:gridCol>
                <a:gridCol w="660744">
                  <a:extLst>
                    <a:ext uri="{9D8B030D-6E8A-4147-A177-3AD203B41FA5}">
                      <a16:colId xmlns:a16="http://schemas.microsoft.com/office/drawing/2014/main" val="2342841255"/>
                    </a:ext>
                  </a:extLst>
                </a:gridCol>
                <a:gridCol w="660744">
                  <a:extLst>
                    <a:ext uri="{9D8B030D-6E8A-4147-A177-3AD203B41FA5}">
                      <a16:colId xmlns:a16="http://schemas.microsoft.com/office/drawing/2014/main" val="1336055313"/>
                    </a:ext>
                  </a:extLst>
                </a:gridCol>
                <a:gridCol w="660744">
                  <a:extLst>
                    <a:ext uri="{9D8B030D-6E8A-4147-A177-3AD203B41FA5}">
                      <a16:colId xmlns:a16="http://schemas.microsoft.com/office/drawing/2014/main" val="481471067"/>
                    </a:ext>
                  </a:extLst>
                </a:gridCol>
                <a:gridCol w="660744">
                  <a:extLst>
                    <a:ext uri="{9D8B030D-6E8A-4147-A177-3AD203B41FA5}">
                      <a16:colId xmlns:a16="http://schemas.microsoft.com/office/drawing/2014/main" val="2826483607"/>
                    </a:ext>
                  </a:extLst>
                </a:gridCol>
                <a:gridCol w="660744">
                  <a:extLst>
                    <a:ext uri="{9D8B030D-6E8A-4147-A177-3AD203B41FA5}">
                      <a16:colId xmlns:a16="http://schemas.microsoft.com/office/drawing/2014/main" val="2835272942"/>
                    </a:ext>
                  </a:extLst>
                </a:gridCol>
                <a:gridCol w="660744">
                  <a:extLst>
                    <a:ext uri="{9D8B030D-6E8A-4147-A177-3AD203B41FA5}">
                      <a16:colId xmlns:a16="http://schemas.microsoft.com/office/drawing/2014/main" val="1800396781"/>
                    </a:ext>
                  </a:extLst>
                </a:gridCol>
                <a:gridCol w="660744">
                  <a:extLst>
                    <a:ext uri="{9D8B030D-6E8A-4147-A177-3AD203B41FA5}">
                      <a16:colId xmlns:a16="http://schemas.microsoft.com/office/drawing/2014/main" val="1362482283"/>
                    </a:ext>
                  </a:extLst>
                </a:gridCol>
                <a:gridCol w="660744">
                  <a:extLst>
                    <a:ext uri="{9D8B030D-6E8A-4147-A177-3AD203B41FA5}">
                      <a16:colId xmlns:a16="http://schemas.microsoft.com/office/drawing/2014/main" val="2173997044"/>
                    </a:ext>
                  </a:extLst>
                </a:gridCol>
                <a:gridCol w="660744">
                  <a:extLst>
                    <a:ext uri="{9D8B030D-6E8A-4147-A177-3AD203B41FA5}">
                      <a16:colId xmlns:a16="http://schemas.microsoft.com/office/drawing/2014/main" val="185024850"/>
                    </a:ext>
                  </a:extLst>
                </a:gridCol>
              </a:tblGrid>
              <a:tr h="350435">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2489">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62489">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62489">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62489">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62489">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62489">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62489">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62489">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62489">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22/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22/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22/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22/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22/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Rank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22/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22/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B99D6BF8-7FB5-6564-6543-3CFF5B6DB850}"/>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22/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134FBE35-BB2F-B6D5-5695-620060B51026}"/>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22/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40629822"/>
              </p:ext>
            </p:extLst>
          </p:nvPr>
        </p:nvGraphicFramePr>
        <p:xfrm>
          <a:off x="284737" y="1013846"/>
          <a:ext cx="8146796" cy="358013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280036">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6912">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6912">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7</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4792547"/>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8</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12054455"/>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9</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4995772"/>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10</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19691683"/>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1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581189229"/>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556109362"/>
              </p:ext>
            </p:extLst>
          </p:nvPr>
        </p:nvGraphicFramePr>
        <p:xfrm>
          <a:off x="964436" y="1391257"/>
          <a:ext cx="2241000" cy="35112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3335049067"/>
              </p:ext>
            </p:extLst>
          </p:nvPr>
        </p:nvGraphicFramePr>
        <p:xfrm>
          <a:off x="3451119" y="1391257"/>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865</Words>
  <Application>Microsoft Office PowerPoint</Application>
  <PresentationFormat>On-screen Show (16:9)</PresentationFormat>
  <Paragraphs>1429</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Sophie  ZIMMERMANN</cp:lastModifiedBy>
  <cp:revision>64</cp:revision>
  <dcterms:created xsi:type="dcterms:W3CDTF">2024-07-08T12:46:55Z</dcterms:created>
  <dcterms:modified xsi:type="dcterms:W3CDTF">2025-09-22T17:2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